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16"/>
  </p:notesMasterIdLst>
  <p:sldIdLst>
    <p:sldId id="257" r:id="rId5"/>
    <p:sldId id="269" r:id="rId6"/>
    <p:sldId id="274" r:id="rId7"/>
    <p:sldId id="275" r:id="rId8"/>
    <p:sldId id="276" r:id="rId9"/>
    <p:sldId id="268" r:id="rId10"/>
    <p:sldId id="277" r:id="rId11"/>
    <p:sldId id="272" r:id="rId12"/>
    <p:sldId id="270" r:id="rId13"/>
    <p:sldId id="271" r:id="rId14"/>
    <p:sldId id="273" r:id="rId15"/>
  </p:sldIdLst>
  <p:sldSz cx="9144000" cy="6858000" type="screen4x3"/>
  <p:notesSz cx="7099300" cy="10234613"/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1" roundtripDataSignature="AMtx7mjk4UV9sn3e1znyVNBfQNbe6H2T4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6DF7B1-AE81-4426-A25F-598F3F650523}" v="564" dt="2022-03-17T18:19:30.9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stil, ingen rutenet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1498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customschemas.google.com/relationships/presentationmetadata" Target="meta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Atle Andersen" userId="a0427cb1-a42f-4089-9261-f9716cccab95" providerId="ADAL" clId="{576DF7B1-AE81-4426-A25F-598F3F650523}"/>
    <pc:docChg chg="custSel addSld modSld">
      <pc:chgData name="Lars Atle Andersen" userId="a0427cb1-a42f-4089-9261-f9716cccab95" providerId="ADAL" clId="{576DF7B1-AE81-4426-A25F-598F3F650523}" dt="2022-02-11T18:44:19.222" v="511" actId="20577"/>
      <pc:docMkLst>
        <pc:docMk/>
      </pc:docMkLst>
      <pc:sldChg chg="modSp mod">
        <pc:chgData name="Lars Atle Andersen" userId="a0427cb1-a42f-4089-9261-f9716cccab95" providerId="ADAL" clId="{576DF7B1-AE81-4426-A25F-598F3F650523}" dt="2022-02-11T17:41:32.524" v="75" actId="20577"/>
        <pc:sldMkLst>
          <pc:docMk/>
          <pc:sldMk cId="0" sldId="257"/>
        </pc:sldMkLst>
        <pc:spChg chg="mod">
          <ac:chgData name="Lars Atle Andersen" userId="a0427cb1-a42f-4089-9261-f9716cccab95" providerId="ADAL" clId="{576DF7B1-AE81-4426-A25F-598F3F650523}" dt="2022-02-11T17:41:28.081" v="72" actId="20577"/>
          <ac:spMkLst>
            <pc:docMk/>
            <pc:sldMk cId="0" sldId="257"/>
            <ac:spMk id="104" creationId="{00000000-0000-0000-0000-000000000000}"/>
          </ac:spMkLst>
        </pc:spChg>
        <pc:spChg chg="mod">
          <ac:chgData name="Lars Atle Andersen" userId="a0427cb1-a42f-4089-9261-f9716cccab95" providerId="ADAL" clId="{576DF7B1-AE81-4426-A25F-598F3F650523}" dt="2022-02-11T17:41:32.524" v="75" actId="20577"/>
          <ac:spMkLst>
            <pc:docMk/>
            <pc:sldMk cId="0" sldId="257"/>
            <ac:spMk id="105" creationId="{00000000-0000-0000-0000-000000000000}"/>
          </ac:spMkLst>
        </pc:spChg>
        <pc:graphicFrameChg chg="mod">
          <ac:chgData name="Lars Atle Andersen" userId="a0427cb1-a42f-4089-9261-f9716cccab95" providerId="ADAL" clId="{576DF7B1-AE81-4426-A25F-598F3F650523}" dt="2022-02-11T17:41:28.585" v="74"/>
          <ac:graphicFrameMkLst>
            <pc:docMk/>
            <pc:sldMk cId="0" sldId="257"/>
            <ac:graphicFrameMk id="2" creationId="{BA960043-7E52-4010-B8BD-5ECCECD417E3}"/>
          </ac:graphicFrameMkLst>
        </pc:graphicFrameChg>
      </pc:sldChg>
      <pc:sldChg chg="modSp mod">
        <pc:chgData name="Lars Atle Andersen" userId="a0427cb1-a42f-4089-9261-f9716cccab95" providerId="ADAL" clId="{576DF7B1-AE81-4426-A25F-598F3F650523}" dt="2022-02-11T17:42:50.317" v="89" actId="20577"/>
        <pc:sldMkLst>
          <pc:docMk/>
          <pc:sldMk cId="2781642" sldId="268"/>
        </pc:sldMkLst>
        <pc:spChg chg="mod">
          <ac:chgData name="Lars Atle Andersen" userId="a0427cb1-a42f-4089-9261-f9716cccab95" providerId="ADAL" clId="{576DF7B1-AE81-4426-A25F-598F3F650523}" dt="2022-02-11T17:42:50.317" v="89" actId="20577"/>
          <ac:spMkLst>
            <pc:docMk/>
            <pc:sldMk cId="2781642" sldId="268"/>
            <ac:spMk id="8" creationId="{5FFC8E1B-036A-4D71-9E92-36B4A2BE6623}"/>
          </ac:spMkLst>
        </pc:spChg>
      </pc:sldChg>
      <pc:sldChg chg="addSp delSp modSp new add mod">
        <pc:chgData name="Lars Atle Andersen" userId="a0427cb1-a42f-4089-9261-f9716cccab95" providerId="ADAL" clId="{576DF7B1-AE81-4426-A25F-598F3F650523}" dt="2022-02-11T17:59:51.561" v="130" actId="1076"/>
        <pc:sldMkLst>
          <pc:docMk/>
          <pc:sldMk cId="2842125486" sldId="274"/>
        </pc:sldMkLst>
        <pc:spChg chg="del mod">
          <ac:chgData name="Lars Atle Andersen" userId="a0427cb1-a42f-4089-9261-f9716cccab95" providerId="ADAL" clId="{576DF7B1-AE81-4426-A25F-598F3F650523}" dt="2022-02-11T17:52:13.012" v="113" actId="478"/>
          <ac:spMkLst>
            <pc:docMk/>
            <pc:sldMk cId="2842125486" sldId="274"/>
            <ac:spMk id="2" creationId="{69A0E14D-8C26-4C57-A58F-CEF6675AD66B}"/>
          </ac:spMkLst>
        </pc:spChg>
        <pc:graphicFrameChg chg="add mod ord modVis">
          <ac:chgData name="Lars Atle Andersen" userId="a0427cb1-a42f-4089-9261-f9716cccab95" providerId="ADAL" clId="{576DF7B1-AE81-4426-A25F-598F3F650523}" dt="2022-02-11T17:52:13.515" v="115"/>
          <ac:graphicFrameMkLst>
            <pc:docMk/>
            <pc:sldMk cId="2842125486" sldId="274"/>
            <ac:graphicFrameMk id="5" creationId="{583D7684-C622-4641-9CB1-8A1D23BA38D7}"/>
          </ac:graphicFrameMkLst>
        </pc:graphicFrameChg>
        <pc:picChg chg="add del mod">
          <ac:chgData name="Lars Atle Andersen" userId="a0427cb1-a42f-4089-9261-f9716cccab95" providerId="ADAL" clId="{576DF7B1-AE81-4426-A25F-598F3F650523}" dt="2022-02-11T17:59:32.537" v="123" actId="478"/>
          <ac:picMkLst>
            <pc:docMk/>
            <pc:sldMk cId="2842125486" sldId="274"/>
            <ac:picMk id="4" creationId="{C04429D1-1D97-4B6D-9886-ED0E4FD9E623}"/>
          </ac:picMkLst>
        </pc:picChg>
        <pc:picChg chg="add mod">
          <ac:chgData name="Lars Atle Andersen" userId="a0427cb1-a42f-4089-9261-f9716cccab95" providerId="ADAL" clId="{576DF7B1-AE81-4426-A25F-598F3F650523}" dt="2022-02-11T17:59:51.561" v="130" actId="1076"/>
          <ac:picMkLst>
            <pc:docMk/>
            <pc:sldMk cId="2842125486" sldId="274"/>
            <ac:picMk id="7" creationId="{D2ADC1A7-7791-4BA3-8898-D801BA6235E6}"/>
          </ac:picMkLst>
        </pc:picChg>
      </pc:sldChg>
      <pc:sldChg chg="addSp delSp modSp add mod">
        <pc:chgData name="Lars Atle Andersen" userId="a0427cb1-a42f-4089-9261-f9716cccab95" providerId="ADAL" clId="{576DF7B1-AE81-4426-A25F-598F3F650523}" dt="2022-02-11T18:34:26.919" v="151" actId="14100"/>
        <pc:sldMkLst>
          <pc:docMk/>
          <pc:sldMk cId="2925064571" sldId="275"/>
        </pc:sldMkLst>
        <pc:picChg chg="add del mod">
          <ac:chgData name="Lars Atle Andersen" userId="a0427cb1-a42f-4089-9261-f9716cccab95" providerId="ADAL" clId="{576DF7B1-AE81-4426-A25F-598F3F650523}" dt="2022-02-11T18:00:51.385" v="133" actId="478"/>
          <ac:picMkLst>
            <pc:docMk/>
            <pc:sldMk cId="2925064571" sldId="275"/>
            <ac:picMk id="3" creationId="{412629B4-EF8F-41A5-A73F-D87030BACEB3}"/>
          </ac:picMkLst>
        </pc:picChg>
        <pc:picChg chg="del">
          <ac:chgData name="Lars Atle Andersen" userId="a0427cb1-a42f-4089-9261-f9716cccab95" providerId="ADAL" clId="{576DF7B1-AE81-4426-A25F-598F3F650523}" dt="2022-02-11T17:53:39.647" v="119" actId="478"/>
          <ac:picMkLst>
            <pc:docMk/>
            <pc:sldMk cId="2925064571" sldId="275"/>
            <ac:picMk id="4" creationId="{C04429D1-1D97-4B6D-9886-ED0E4FD9E623}"/>
          </ac:picMkLst>
        </pc:picChg>
        <pc:picChg chg="add del mod">
          <ac:chgData name="Lars Atle Andersen" userId="a0427cb1-a42f-4089-9261-f9716cccab95" providerId="ADAL" clId="{576DF7B1-AE81-4426-A25F-598F3F650523}" dt="2022-02-11T18:34:17.162" v="149" actId="478"/>
          <ac:picMkLst>
            <pc:docMk/>
            <pc:sldMk cId="2925064571" sldId="275"/>
            <ac:picMk id="7" creationId="{1CB6BB65-2626-4377-B8C4-418C289F7BB9}"/>
          </ac:picMkLst>
        </pc:picChg>
        <pc:picChg chg="add mod">
          <ac:chgData name="Lars Atle Andersen" userId="a0427cb1-a42f-4089-9261-f9716cccab95" providerId="ADAL" clId="{576DF7B1-AE81-4426-A25F-598F3F650523}" dt="2022-02-11T18:34:26.919" v="151" actId="14100"/>
          <ac:picMkLst>
            <pc:docMk/>
            <pc:sldMk cId="2925064571" sldId="275"/>
            <ac:picMk id="9" creationId="{E3DBE99C-ED54-4B90-AE3B-3618602B1C9B}"/>
          </ac:picMkLst>
        </pc:picChg>
      </pc:sldChg>
      <pc:sldChg chg="addSp delSp modSp add mod">
        <pc:chgData name="Lars Atle Andersen" userId="a0427cb1-a42f-4089-9261-f9716cccab95" providerId="ADAL" clId="{576DF7B1-AE81-4426-A25F-598F3F650523}" dt="2022-02-11T18:02:03.096" v="142" actId="14100"/>
        <pc:sldMkLst>
          <pc:docMk/>
          <pc:sldMk cId="3662226016" sldId="276"/>
        </pc:sldMkLst>
        <pc:picChg chg="add mod">
          <ac:chgData name="Lars Atle Andersen" userId="a0427cb1-a42f-4089-9261-f9716cccab95" providerId="ADAL" clId="{576DF7B1-AE81-4426-A25F-598F3F650523}" dt="2022-02-11T18:02:03.096" v="142" actId="14100"/>
          <ac:picMkLst>
            <pc:docMk/>
            <pc:sldMk cId="3662226016" sldId="276"/>
            <ac:picMk id="3" creationId="{C8C165B0-4A2B-4609-B9CD-B0BEB6571121}"/>
          </ac:picMkLst>
        </pc:picChg>
        <pc:picChg chg="del mod">
          <ac:chgData name="Lars Atle Andersen" userId="a0427cb1-a42f-4089-9261-f9716cccab95" providerId="ADAL" clId="{576DF7B1-AE81-4426-A25F-598F3F650523}" dt="2022-02-11T18:01:51.577" v="140" actId="478"/>
          <ac:picMkLst>
            <pc:docMk/>
            <pc:sldMk cId="3662226016" sldId="276"/>
            <ac:picMk id="7" creationId="{1CB6BB65-2626-4377-B8C4-418C289F7BB9}"/>
          </ac:picMkLst>
        </pc:picChg>
      </pc:sldChg>
      <pc:sldChg chg="addSp delSp modSp add mod">
        <pc:chgData name="Lars Atle Andersen" userId="a0427cb1-a42f-4089-9261-f9716cccab95" providerId="ADAL" clId="{576DF7B1-AE81-4426-A25F-598F3F650523}" dt="2022-02-11T18:44:19.222" v="511" actId="20577"/>
        <pc:sldMkLst>
          <pc:docMk/>
          <pc:sldMk cId="3106785541" sldId="277"/>
        </pc:sldMkLst>
        <pc:spChg chg="add del mod">
          <ac:chgData name="Lars Atle Andersen" userId="a0427cb1-a42f-4089-9261-f9716cccab95" providerId="ADAL" clId="{576DF7B1-AE81-4426-A25F-598F3F650523}" dt="2022-02-11T18:37:43.436" v="153" actId="478"/>
          <ac:spMkLst>
            <pc:docMk/>
            <pc:sldMk cId="3106785541" sldId="277"/>
            <ac:spMk id="4" creationId="{44884DB7-A509-448D-8C8B-33B76CFF2B66}"/>
          </ac:spMkLst>
        </pc:spChg>
        <pc:spChg chg="mod">
          <ac:chgData name="Lars Atle Andersen" userId="a0427cb1-a42f-4089-9261-f9716cccab95" providerId="ADAL" clId="{576DF7B1-AE81-4426-A25F-598F3F650523}" dt="2022-02-11T18:44:19.222" v="511" actId="20577"/>
          <ac:spMkLst>
            <pc:docMk/>
            <pc:sldMk cId="3106785541" sldId="277"/>
            <ac:spMk id="8" creationId="{5FFC8E1B-036A-4D71-9E92-36B4A2BE6623}"/>
          </ac:spMkLst>
        </pc:spChg>
        <pc:spChg chg="del">
          <ac:chgData name="Lars Atle Andersen" userId="a0427cb1-a42f-4089-9261-f9716cccab95" providerId="ADAL" clId="{576DF7B1-AE81-4426-A25F-598F3F650523}" dt="2022-02-11T18:37:40.109" v="152" actId="478"/>
          <ac:spMkLst>
            <pc:docMk/>
            <pc:sldMk cId="3106785541" sldId="277"/>
            <ac:spMk id="9" creationId="{EAF447B2-B531-427B-86F4-13C38AC29144}"/>
          </ac:spMkLst>
        </pc:spChg>
        <pc:picChg chg="del mod">
          <ac:chgData name="Lars Atle Andersen" userId="a0427cb1-a42f-4089-9261-f9716cccab95" providerId="ADAL" clId="{576DF7B1-AE81-4426-A25F-598F3F650523}" dt="2022-02-11T18:32:33.876" v="145" actId="478"/>
          <ac:picMkLst>
            <pc:docMk/>
            <pc:sldMk cId="3106785541" sldId="277"/>
            <ac:picMk id="11" creationId="{90F63177-EE87-45E0-8DA8-F9B963AAD05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83450" y="767575"/>
            <a:ext cx="4733100" cy="3837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09925" y="4861425"/>
            <a:ext cx="5679425" cy="460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709925" y="4861425"/>
            <a:ext cx="5679425" cy="4605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8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9" name="Google Shape;19;p18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Google Shape;20;p18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Google Shape;21;p18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18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28"/>
          <p:cNvSpPr txBox="1">
            <a:spLocks noGrp="1"/>
          </p:cNvSpPr>
          <p:nvPr>
            <p:ph type="title"/>
          </p:nvPr>
        </p:nvSpPr>
        <p:spPr>
          <a:xfrm rot="5400000">
            <a:off x="4732337" y="2171700"/>
            <a:ext cx="5851525" cy="20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5" name="Google Shape;85;p28"/>
          <p:cNvSpPr txBox="1">
            <a:spLocks noGrp="1"/>
          </p:cNvSpPr>
          <p:nvPr>
            <p:ph type="body" idx="1"/>
          </p:nvPr>
        </p:nvSpPr>
        <p:spPr>
          <a:xfrm rot="5400000">
            <a:off x="541338" y="190501"/>
            <a:ext cx="5851525" cy="601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28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28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28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9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" name="Google Shape;25;p19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Google Shape;26;p19"/>
          <p:cNvSpPr txBox="1">
            <a:spLocks noGrp="1"/>
          </p:cNvSpPr>
          <p:nvPr>
            <p:ph type="body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Google Shape;27;p19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Google Shape;28;p19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19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21"/>
          <p:cNvSpPr txBox="1"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1" name="Google Shape;41;p21"/>
          <p:cNvSpPr txBox="1"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p21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" name="Google Shape;43;p21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Google Shape;44;p21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22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7" name="Google Shape;47;p22"/>
          <p:cNvSpPr txBox="1"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Google Shape;48;p22"/>
          <p:cNvSpPr txBox="1">
            <a:spLocks noGrp="1"/>
          </p:cNvSpPr>
          <p:nvPr>
            <p:ph type="body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Google Shape;49;p22"/>
          <p:cNvSpPr txBox="1">
            <a:spLocks noGrp="1"/>
          </p:cNvSpPr>
          <p:nvPr>
            <p:ph type="body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0" name="Google Shape;50;p22"/>
          <p:cNvSpPr txBox="1">
            <a:spLocks noGrp="1"/>
          </p:cNvSpPr>
          <p:nvPr>
            <p:ph type="body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1" name="Google Shape;51;p22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22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22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3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6" name="Google Shape;56;p23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Google Shape;57;p23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Google Shape;58;p23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24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" name="Google Shape;61;p24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24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25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5" name="Google Shape;65;p25"/>
          <p:cNvSpPr txBox="1"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25"/>
          <p:cNvSpPr txBox="1">
            <a:spLocks noGrp="1"/>
          </p:cNvSpPr>
          <p:nvPr>
            <p:ph type="body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25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25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25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26"/>
          <p:cNvSpPr txBox="1"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2" name="Google Shape;72;p26"/>
          <p:cNvSpPr>
            <a:spLocks noGrp="1"/>
          </p:cNvSpPr>
          <p:nvPr>
            <p:ph type="pic" idx="2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Google Shape;73;p26"/>
          <p:cNvSpPr txBox="1">
            <a:spLocks noGrp="1"/>
          </p:cNvSpPr>
          <p:nvPr>
            <p:ph type="body" idx="1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26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26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26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27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9" name="Google Shape;79;p27"/>
          <p:cNvSpPr txBox="1">
            <a:spLocks noGrp="1"/>
          </p:cNvSpPr>
          <p:nvPr>
            <p:ph type="body" idx="1"/>
          </p:nvPr>
        </p:nvSpPr>
        <p:spPr>
          <a:xfrm rot="5400000">
            <a:off x="2309018" y="-251619"/>
            <a:ext cx="4525963" cy="82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0" name="Google Shape;80;p27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1" name="Google Shape;81;p27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2" name="Google Shape;82;p27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8F9A5B2-5473-4EAB-A71E-ED5A1D559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59939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8F9A5B2-5473-4EAB-A71E-ED5A1D559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6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6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6"/>
          <p:cNvSpPr txBox="1">
            <a:spLocks noGrp="1"/>
          </p:cNvSpPr>
          <p:nvPr>
            <p:ph type="dt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Google Shape;9;p16"/>
          <p:cNvSpPr txBox="1">
            <a:spLocks noGrp="1"/>
          </p:cNvSpPr>
          <p:nvPr>
            <p:ph type="ft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" name="Google Shape;10;p16"/>
          <p:cNvSpPr txBox="1">
            <a:spLocks noGrp="1"/>
          </p:cNvSpPr>
          <p:nvPr>
            <p:ph type="sldNum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A960043-7E52-4010-B8BD-5ECCECD417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35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BA960043-7E52-4010-B8BD-5ECCECD417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Google Shape;104;p2"/>
          <p:cNvSpPr txBox="1">
            <a:spLocks noGrp="1"/>
          </p:cNvSpPr>
          <p:nvPr>
            <p:ph type="title"/>
          </p:nvPr>
        </p:nvSpPr>
        <p:spPr>
          <a:xfrm>
            <a:off x="360759" y="3752849"/>
            <a:ext cx="2468166" cy="2452687"/>
          </a:xfrm>
          <a:prstGeom prst="rect">
            <a:avLst/>
          </a:prstGeom>
        </p:spPr>
        <p:txBody>
          <a:bodyPr spcFirstLastPara="1" lIns="91425" tIns="45700" rIns="91425" bIns="45700" anchor="ctr" anchorCtr="0">
            <a:norm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959"/>
              <a:buNone/>
            </a:pPr>
            <a:r>
              <a:rPr lang="en-GB" sz="2400" dirty="0" err="1">
                <a:latin typeface="Arial"/>
                <a:ea typeface="Arial"/>
                <a:cs typeface="Arial"/>
                <a:sym typeface="Arial"/>
              </a:rPr>
              <a:t>Informasjons-møter</a:t>
            </a:r>
            <a:r>
              <a:rPr lang="en-GB" sz="2400" dirty="0">
                <a:latin typeface="Arial"/>
                <a:ea typeface="Arial"/>
                <a:cs typeface="Arial"/>
                <a:sym typeface="Arial"/>
              </a:rPr>
              <a:t> </a:t>
            </a:r>
            <a:br>
              <a:rPr lang="en-GB" sz="2400" dirty="0">
                <a:latin typeface="Arial"/>
                <a:ea typeface="Arial"/>
                <a:cs typeface="Arial"/>
                <a:sym typeface="Arial"/>
              </a:rPr>
            </a:br>
            <a:r>
              <a:rPr lang="en-GB" sz="2400" dirty="0">
                <a:latin typeface="Arial"/>
                <a:ea typeface="Arial"/>
                <a:cs typeface="Arial"/>
                <a:sym typeface="Arial"/>
              </a:rPr>
              <a:t>16. og 17. </a:t>
            </a:r>
            <a:r>
              <a:rPr lang="en-GB" sz="2400" dirty="0" err="1">
                <a:latin typeface="Arial"/>
                <a:ea typeface="Arial"/>
                <a:cs typeface="Arial"/>
                <a:sym typeface="Arial"/>
              </a:rPr>
              <a:t>februar</a:t>
            </a:r>
            <a:r>
              <a:rPr lang="en-GB" sz="2400" dirty="0">
                <a:latin typeface="Arial"/>
                <a:ea typeface="Arial"/>
                <a:cs typeface="Arial"/>
                <a:sym typeface="Arial"/>
              </a:rPr>
              <a:t> 202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15044F-F10E-4FD5-B080-7DE82B68739F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22947" b="22947"/>
          <a:stretch/>
        </p:blipFill>
        <p:spPr>
          <a:xfrm>
            <a:off x="20" y="0"/>
            <a:ext cx="9143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105" name="Google Shape;105;p2"/>
          <p:cNvSpPr txBox="1">
            <a:spLocks noGrp="1"/>
          </p:cNvSpPr>
          <p:nvPr>
            <p:ph type="body" idx="1"/>
          </p:nvPr>
        </p:nvSpPr>
        <p:spPr>
          <a:xfrm>
            <a:off x="3167986" y="3752850"/>
            <a:ext cx="5614060" cy="2452687"/>
          </a:xfrm>
          <a:prstGeom prst="rect">
            <a:avLst/>
          </a:prstGeom>
        </p:spPr>
        <p:txBody>
          <a:bodyPr spcFirstLastPara="1" lIns="91425" tIns="45700" rIns="91425" bIns="45700" anchor="ctr" anchorCtr="0">
            <a:normAutofit/>
          </a:bodyPr>
          <a:lstStyle/>
          <a:p>
            <a:pPr marL="425450" lvl="0" indent="-228600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/>
              <a:buChar char="•"/>
            </a:pPr>
            <a:r>
              <a:rPr lang="nb-NO" sz="1800" dirty="0"/>
              <a:t>Vårprogrammet 2022</a:t>
            </a:r>
          </a:p>
          <a:p>
            <a:pPr marL="425450" lvl="0" indent="-228600" rt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/>
              <a:buChar char="•"/>
            </a:pPr>
            <a:r>
              <a:rPr lang="nb-NO" sz="1800" dirty="0" err="1">
                <a:latin typeface="Calibri"/>
                <a:ea typeface="Calibri"/>
                <a:cs typeface="Calibri"/>
                <a:sym typeface="Calibri"/>
              </a:rPr>
              <a:t>Spejdernes</a:t>
            </a:r>
            <a:r>
              <a:rPr lang="nb-NO" sz="1800" dirty="0"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nb-NO" sz="1800" dirty="0" err="1">
                <a:latin typeface="Calibri"/>
                <a:ea typeface="Calibri"/>
                <a:cs typeface="Calibri"/>
                <a:sym typeface="Calibri"/>
              </a:rPr>
              <a:t>lejr</a:t>
            </a:r>
            <a:endParaRPr lang="nb-NO" sz="1800" dirty="0"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74816E8-ECCC-4AF3-AA96-02FAC34F86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58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74816E8-ECCC-4AF3-AA96-02FAC34F8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921B910-B5C6-45E9-9873-5CAA823FC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Dagsprogram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D53BC5-E482-41F0-AACF-8A1C1BEC29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8123" y="1212097"/>
            <a:ext cx="4580896" cy="554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801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F4BC1-C27B-402A-ABBD-A65C403D4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E5DA94-60F2-4F29-9674-273A720554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31974" y="94266"/>
            <a:ext cx="5293848" cy="4909839"/>
          </a:xfrm>
          <a:prstGeom prst="rect">
            <a:avLst/>
          </a:prstGeom>
        </p:spPr>
      </p:pic>
      <p:pic>
        <p:nvPicPr>
          <p:cNvPr id="8" name="Picture 7" descr="Text, letter&#10;&#10;Description automatically generated">
            <a:extLst>
              <a:ext uri="{FF2B5EF4-FFF2-40B4-BE49-F238E27FC236}">
                <a16:creationId xmlns:a16="http://schemas.microsoft.com/office/drawing/2014/main" id="{DF12AFC7-8A74-403D-B5A7-FA9B9F7238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0584" y="1253766"/>
            <a:ext cx="4212014" cy="5616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623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092C8CD-4BF7-4DE5-B61C-A5275D2A5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72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092C8CD-4BF7-4DE5-B61C-A5275D2A5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person&#10;&#10;Description automatically generated">
            <a:extLst>
              <a:ext uri="{FF2B5EF4-FFF2-40B4-BE49-F238E27FC236}">
                <a16:creationId xmlns:a16="http://schemas.microsoft.com/office/drawing/2014/main" id="{FAF771CB-7C2A-42C1-94C4-264C68236D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3775C7-0BC3-4E4E-A5A5-864D24038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111861"/>
            <a:ext cx="8229600" cy="1143000"/>
          </a:xfrm>
        </p:spPr>
        <p:txBody>
          <a:bodyPr vert="horz"/>
          <a:lstStyle/>
          <a:p>
            <a:r>
              <a:rPr lang="en-GB" b="1" i="1" dirty="0" err="1"/>
              <a:t>Terminlista</a:t>
            </a:r>
            <a:r>
              <a:rPr lang="en-GB" b="1" i="1" dirty="0"/>
              <a:t> </a:t>
            </a:r>
            <a:r>
              <a:rPr lang="en-GB" b="1" i="1" dirty="0" err="1"/>
              <a:t>kapret</a:t>
            </a:r>
            <a:r>
              <a:rPr lang="en-GB" b="1" i="1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585102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3D7684-C622-4641-9CB1-8A1D23BA38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51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3D7684-C622-4641-9CB1-8A1D23BA3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2ADC1A7-7791-4BA3-8898-D801BA6235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517" y="931457"/>
            <a:ext cx="8568965" cy="4857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125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3D7684-C622-4641-9CB1-8A1D23BA38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3D7684-C622-4641-9CB1-8A1D23BA3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3DBE99C-ED54-4B90-AE3B-3618602B1C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402" y="871815"/>
            <a:ext cx="8804635" cy="5081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064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3D7684-C622-4641-9CB1-8A1D23BA38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3D7684-C622-4641-9CB1-8A1D23BA38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8C165B0-4A2B-4609-B9CD-B0BEB65711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200" y="2007909"/>
            <a:ext cx="8690410" cy="2854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2260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526127-8831-4A00-A629-10FA0FA0D7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24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526127-8831-4A00-A629-10FA0FA0D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F72D87-9EBA-4632-94C6-38EC6BF6E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FC8E1B-036A-4D71-9E92-36B4A2BE66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400" dirty="0"/>
              <a:t>59 </a:t>
            </a:r>
            <a:r>
              <a:rPr lang="en-GB" sz="2400" dirty="0" err="1"/>
              <a:t>påmeldte</a:t>
            </a:r>
            <a:endParaRPr lang="en-GB" sz="2400" dirty="0"/>
          </a:p>
          <a:p>
            <a:r>
              <a:rPr lang="en-GB" sz="2400" dirty="0" err="1"/>
              <a:t>Leirdato</a:t>
            </a:r>
            <a:r>
              <a:rPr lang="en-GB" sz="2400" dirty="0"/>
              <a:t>: 23.-31.juli.</a:t>
            </a:r>
          </a:p>
          <a:p>
            <a:r>
              <a:rPr lang="en-GB" sz="2400" dirty="0"/>
              <a:t>Andre </a:t>
            </a:r>
            <a:r>
              <a:rPr lang="en-GB" sz="2400" dirty="0" err="1"/>
              <a:t>interesserte</a:t>
            </a:r>
            <a:r>
              <a:rPr lang="en-GB" sz="2400" dirty="0"/>
              <a:t>:</a:t>
            </a:r>
          </a:p>
          <a:p>
            <a:pPr lvl="1"/>
            <a:r>
              <a:rPr lang="en-GB" dirty="0"/>
              <a:t>Hinna</a:t>
            </a:r>
          </a:p>
          <a:p>
            <a:pPr lvl="1"/>
            <a:r>
              <a:rPr lang="en-GB" dirty="0" err="1"/>
              <a:t>Madla</a:t>
            </a:r>
            <a:endParaRPr lang="en-GB" dirty="0"/>
          </a:p>
          <a:p>
            <a:pPr lvl="1"/>
            <a:r>
              <a:rPr lang="en-GB" dirty="0" err="1"/>
              <a:t>Randaberg</a:t>
            </a:r>
            <a:endParaRPr lang="en-GB" dirty="0"/>
          </a:p>
          <a:p>
            <a:r>
              <a:rPr lang="en-GB" sz="2400" dirty="0" err="1"/>
              <a:t>Påmeldingsfrist</a:t>
            </a:r>
            <a:r>
              <a:rPr lang="en-GB" sz="2400" dirty="0"/>
              <a:t>: 1.april</a:t>
            </a:r>
          </a:p>
          <a:p>
            <a:r>
              <a:rPr lang="en-GB" sz="2400" dirty="0" err="1"/>
              <a:t>Fergetider</a:t>
            </a:r>
            <a:r>
              <a:rPr lang="en-GB" sz="2400" dirty="0"/>
              <a:t>:</a:t>
            </a:r>
          </a:p>
          <a:p>
            <a:pPr lvl="1"/>
            <a:r>
              <a:rPr lang="en-GB" dirty="0"/>
              <a:t>23/7: 13.30-15.45</a:t>
            </a:r>
          </a:p>
          <a:p>
            <a:pPr lvl="1"/>
            <a:r>
              <a:rPr lang="en-GB" dirty="0"/>
              <a:t>31/7: 17.00-19.15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F447B2-B531-427B-86F4-13C38AC29144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 marL="50800" indent="0">
              <a:buNone/>
            </a:pPr>
            <a:r>
              <a:rPr lang="en-GB" dirty="0" err="1"/>
              <a:t>Leirkomite</a:t>
            </a:r>
            <a:r>
              <a:rPr lang="en-GB" dirty="0"/>
              <a:t>:</a:t>
            </a:r>
          </a:p>
          <a:p>
            <a:r>
              <a:rPr lang="en-GB" sz="2400" dirty="0"/>
              <a:t>Lars Atle – </a:t>
            </a:r>
            <a:r>
              <a:rPr lang="en-GB" sz="2400" dirty="0" err="1"/>
              <a:t>Prosjektleder</a:t>
            </a:r>
            <a:endParaRPr lang="en-GB" sz="2400" dirty="0"/>
          </a:p>
          <a:p>
            <a:r>
              <a:rPr lang="en-GB" sz="2400" dirty="0"/>
              <a:t>Nina og Ole – </a:t>
            </a:r>
            <a:r>
              <a:rPr lang="en-GB" sz="2400" dirty="0" err="1"/>
              <a:t>Troppsledere</a:t>
            </a:r>
            <a:endParaRPr lang="en-GB" sz="2400" dirty="0"/>
          </a:p>
          <a:p>
            <a:r>
              <a:rPr lang="en-GB" sz="2400" dirty="0"/>
              <a:t>Simon – Program og </a:t>
            </a:r>
            <a:r>
              <a:rPr lang="en-GB" sz="2400" dirty="0" err="1"/>
              <a:t>leirliv</a:t>
            </a:r>
            <a:endParaRPr lang="en-GB" sz="2400" dirty="0"/>
          </a:p>
          <a:p>
            <a:r>
              <a:rPr lang="en-GB" sz="2400" dirty="0"/>
              <a:t>Angeline – Logistikk</a:t>
            </a:r>
          </a:p>
          <a:p>
            <a:r>
              <a:rPr lang="en-GB" sz="2400" dirty="0"/>
              <a:t>Kirjan – HMS</a:t>
            </a:r>
          </a:p>
          <a:p>
            <a:r>
              <a:rPr lang="en-GB" sz="2400" dirty="0"/>
              <a:t>Ingrid – </a:t>
            </a:r>
            <a:r>
              <a:rPr lang="en-GB" sz="2400" dirty="0" err="1"/>
              <a:t>Hjemmesupporter</a:t>
            </a:r>
            <a:endParaRPr lang="en-GB" sz="2400" dirty="0"/>
          </a:p>
          <a:p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0F63177-EE87-45E0-8DA8-F9B963AAD0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9044" y="5071139"/>
            <a:ext cx="4236912" cy="123758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85A1752-04AE-4AE7-B861-3A7DB34B8B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000" y="274638"/>
            <a:ext cx="7829999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526127-8831-4A00-A629-10FA0FA0D7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526127-8831-4A00-A629-10FA0FA0D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BF72D87-9EBA-4632-94C6-38EC6BF6E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FC8E1B-036A-4D71-9E92-36B4A2BE66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599" cy="4525963"/>
          </a:xfrm>
        </p:spPr>
        <p:txBody>
          <a:bodyPr/>
          <a:lstStyle/>
          <a:p>
            <a:endParaRPr lang="en-GB" sz="2400" dirty="0"/>
          </a:p>
          <a:p>
            <a:r>
              <a:rPr lang="en-GB" sz="2400" dirty="0"/>
              <a:t>Pris: 5.900,-</a:t>
            </a:r>
          </a:p>
          <a:p>
            <a:r>
              <a:rPr lang="en-GB" sz="2400" dirty="0" err="1"/>
              <a:t>Betalingsfrist</a:t>
            </a:r>
            <a:r>
              <a:rPr lang="en-GB" sz="2400" dirty="0"/>
              <a:t>: 15.april</a:t>
            </a:r>
          </a:p>
          <a:p>
            <a:r>
              <a:rPr lang="en-GB" sz="2400" dirty="0" err="1"/>
              <a:t>Prisen</a:t>
            </a:r>
            <a:r>
              <a:rPr lang="en-GB" sz="2400" dirty="0"/>
              <a:t> </a:t>
            </a:r>
            <a:r>
              <a:rPr lang="en-GB" sz="2400" dirty="0" err="1"/>
              <a:t>inkluderer</a:t>
            </a:r>
            <a:r>
              <a:rPr lang="en-GB" sz="2400" dirty="0"/>
              <a:t>:</a:t>
            </a:r>
          </a:p>
          <a:p>
            <a:pPr lvl="1"/>
            <a:r>
              <a:rPr lang="en-GB" sz="2000" dirty="0"/>
              <a:t>9 </a:t>
            </a:r>
            <a:r>
              <a:rPr lang="en-GB" sz="2000" dirty="0" err="1"/>
              <a:t>dager</a:t>
            </a:r>
            <a:r>
              <a:rPr lang="en-GB" sz="2000" dirty="0"/>
              <a:t> med leir, </a:t>
            </a:r>
            <a:r>
              <a:rPr lang="en-GB" sz="2000" dirty="0" err="1"/>
              <a:t>inkludert</a:t>
            </a:r>
            <a:r>
              <a:rPr lang="en-GB" sz="2000" dirty="0"/>
              <a:t> </a:t>
            </a:r>
            <a:r>
              <a:rPr lang="en-GB" sz="2000" dirty="0" err="1"/>
              <a:t>reise</a:t>
            </a:r>
            <a:endParaRPr lang="en-GB" sz="2000" dirty="0"/>
          </a:p>
          <a:p>
            <a:pPr lvl="1"/>
            <a:r>
              <a:rPr lang="en-GB" sz="2000" dirty="0"/>
              <a:t>Alle </a:t>
            </a:r>
            <a:r>
              <a:rPr lang="en-GB" sz="2000" dirty="0" err="1"/>
              <a:t>aktiviteter</a:t>
            </a:r>
            <a:r>
              <a:rPr lang="en-GB" sz="2000" dirty="0"/>
              <a:t>, mat og </a:t>
            </a:r>
            <a:r>
              <a:rPr lang="en-GB" sz="2000" dirty="0" err="1"/>
              <a:t>utstyr</a:t>
            </a:r>
            <a:r>
              <a:rPr lang="en-GB" sz="2000" dirty="0"/>
              <a:t> </a:t>
            </a:r>
            <a:r>
              <a:rPr lang="en-GB" sz="2000" dirty="0" err="1"/>
              <a:t>på</a:t>
            </a:r>
            <a:r>
              <a:rPr lang="en-GB" sz="2000" dirty="0"/>
              <a:t> </a:t>
            </a:r>
            <a:r>
              <a:rPr lang="en-GB" sz="2000" dirty="0" err="1"/>
              <a:t>leiren</a:t>
            </a:r>
            <a:endParaRPr lang="en-GB" sz="2000" dirty="0"/>
          </a:p>
          <a:p>
            <a:pPr lvl="1"/>
            <a:r>
              <a:rPr lang="en-GB" sz="2000" dirty="0"/>
              <a:t>Transport med buss og </a:t>
            </a:r>
            <a:r>
              <a:rPr lang="en-GB" sz="2000" dirty="0" err="1"/>
              <a:t>ferge</a:t>
            </a:r>
            <a:endParaRPr lang="en-GB" sz="2000" dirty="0"/>
          </a:p>
          <a:p>
            <a:r>
              <a:rPr lang="en-GB" sz="2400" dirty="0"/>
              <a:t>I </a:t>
            </a:r>
            <a:r>
              <a:rPr lang="en-GB" sz="2400" dirty="0" err="1"/>
              <a:t>tillegg</a:t>
            </a:r>
            <a:r>
              <a:rPr lang="en-GB" sz="2400" dirty="0"/>
              <a:t> </a:t>
            </a:r>
            <a:r>
              <a:rPr lang="en-GB" sz="2400" dirty="0" err="1"/>
              <a:t>kommer</a:t>
            </a:r>
            <a:r>
              <a:rPr lang="en-GB" sz="2400" dirty="0"/>
              <a:t>:</a:t>
            </a:r>
          </a:p>
          <a:p>
            <a:pPr lvl="1"/>
            <a:r>
              <a:rPr lang="en-GB" sz="2000" dirty="0" err="1"/>
              <a:t>Lommepenger</a:t>
            </a:r>
            <a:endParaRPr lang="en-GB" sz="2000" dirty="0"/>
          </a:p>
          <a:p>
            <a:pPr lvl="1"/>
            <a:r>
              <a:rPr lang="en-GB" sz="2000" dirty="0" err="1"/>
              <a:t>Reiseforsikring</a:t>
            </a:r>
            <a:endParaRPr lang="en-GB" sz="2000" dirty="0"/>
          </a:p>
          <a:p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85A1752-04AE-4AE7-B861-3A7DB34B8B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000" y="274638"/>
            <a:ext cx="7829999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785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BDE2D29-8C07-4EFD-863D-1D2544398B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328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BDE2D29-8C07-4EFD-863D-1D2544398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D17F94B-46B3-4370-AC52-2451A4D26B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292" y="375578"/>
            <a:ext cx="4244708" cy="33988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253A047-7B40-4BBB-B64F-D198EAA64D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1940" y="4163131"/>
            <a:ext cx="6900120" cy="25458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424E59E-2EF3-467B-A51C-B3BF1641A3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42044" y="149058"/>
            <a:ext cx="3087255" cy="3851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7264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C406C6C-6B06-4D0C-8B5C-58D11DEF23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801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C406C6C-6B06-4D0C-8B5C-58D11DEF23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22305AB-8FB0-4E23-B70B-204E2E6E96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200" dirty="0" err="1"/>
              <a:t>Ukeprogram</a:t>
            </a:r>
            <a:endParaRPr lang="en-GB" sz="4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293049-C345-4095-BC6F-8B443DDF92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7BA632-6F4A-425F-80AC-D1FEFFBA8A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73" y="1241573"/>
            <a:ext cx="9083827" cy="561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98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2714743322DA4EA43468B14C44C6D1" ma:contentTypeVersion="11" ma:contentTypeDescription="Create a new document." ma:contentTypeScope="" ma:versionID="882c90104366359224fb34d4e86a8d2a">
  <xsd:schema xmlns:xsd="http://www.w3.org/2001/XMLSchema" xmlns:xs="http://www.w3.org/2001/XMLSchema" xmlns:p="http://schemas.microsoft.com/office/2006/metadata/properties" xmlns:ns3="53f20fd3-804c-4a70-9490-7339b4324d93" xmlns:ns4="67711989-67dc-4556-95de-724c6fa66956" targetNamespace="http://schemas.microsoft.com/office/2006/metadata/properties" ma:root="true" ma:fieldsID="02700211ff0cc437162d6325ed0a5de2" ns3:_="" ns4:_="">
    <xsd:import namespace="53f20fd3-804c-4a70-9490-7339b4324d93"/>
    <xsd:import namespace="67711989-67dc-4556-95de-724c6fa6695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f20fd3-804c-4a70-9490-7339b4324d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711989-67dc-4556-95de-724c6fa669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3E53BE1-613B-4E7D-8A30-39C58F870E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f20fd3-804c-4a70-9490-7339b4324d93"/>
    <ds:schemaRef ds:uri="67711989-67dc-4556-95de-724c6fa669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AD4F64-B6E4-4CAB-8722-46DE7DFF1E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F7C9FD-CAC0-45E3-B170-EDCF0E3D72E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4</TotalTime>
  <Words>110</Words>
  <Application>Microsoft Office PowerPoint</Application>
  <PresentationFormat>On-screen Show (4:3)</PresentationFormat>
  <Paragraphs>33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Office Theme</vt:lpstr>
      <vt:lpstr>think-cell Slide</vt:lpstr>
      <vt:lpstr>Informasjons-møter  16. og 17. februar 2022</vt:lpstr>
      <vt:lpstr>Terminlista kapret!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keprogram</vt:lpstr>
      <vt:lpstr>Dagsprogra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Rammer for sommerleir 2021  </dc:title>
  <dc:creator>Lars Atle Andersen</dc:creator>
  <cp:lastModifiedBy>Lars Atle Andersen</cp:lastModifiedBy>
  <cp:revision>6</cp:revision>
  <dcterms:created xsi:type="dcterms:W3CDTF">2020-09-29T17:54:34Z</dcterms:created>
  <dcterms:modified xsi:type="dcterms:W3CDTF">2022-03-17T18:19:30Z</dcterms:modified>
</cp:coreProperties>
</file>